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5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77707006369428E-2"/>
          <c:y val="0.23529411764705882"/>
          <c:w val="0.94904458598726116"/>
          <c:h val="0.5294117647058823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2B-492E-AE71-C1315C29BA41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2B-492E-AE71-C1315C29BA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20766160"/>
        <c:axId val="1"/>
      </c:barChart>
      <c:catAx>
        <c:axId val="320766160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20766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77707006369428E-2"/>
          <c:y val="0.23529411764705882"/>
          <c:w val="0.94904458598726116"/>
          <c:h val="0.5294117647058823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07-46F9-B601-2754BE64695D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07-46F9-B601-2754BE646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20782560"/>
        <c:axId val="1"/>
      </c:barChart>
      <c:catAx>
        <c:axId val="320782560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20782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77707006369428E-2"/>
          <c:y val="0.23529411764705882"/>
          <c:w val="0.94904458598726116"/>
          <c:h val="0.5294117647058823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F4-4185-B3A9-281520FCC727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F4-4185-B3A9-281520FCC7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20766560"/>
        <c:axId val="1"/>
      </c:barChart>
      <c:catAx>
        <c:axId val="320766560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20766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6A4568-0362-44EA-85FF-072B582476C0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CA4044-0A35-40F4-939E-2DCB5229AA9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6616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557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3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10677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07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8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91993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99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72269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12" Type="http://schemas.openxmlformats.org/officeDocument/2006/relationships/chart" Target="../charts/char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5.xml"/><Relationship Id="rId11" Type="http://schemas.openxmlformats.org/officeDocument/2006/relationships/chart" Target="../charts/chart2.xml"/><Relationship Id="rId5" Type="http://schemas.openxmlformats.org/officeDocument/2006/relationships/tags" Target="../tags/tag8.xml"/><Relationship Id="rId10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8" imgW="349" imgH="350" progId="TCLayout.ActiveDocument.1">
                  <p:embed/>
                </p:oleObj>
              </mc:Choice>
              <mc:Fallback>
                <p:oleObj name="think-cell 幻灯片" r:id="rId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4B66168B-C1A7-B9B0-01C3-3100E2852FF4}"/>
              </a:ext>
            </a:extLst>
          </p:cNvPr>
          <p:cNvSpPr>
            <a:spLocks/>
          </p:cNvSpPr>
          <p:nvPr/>
        </p:nvSpPr>
        <p:spPr bwMode="gray">
          <a:xfrm>
            <a:off x="4390365" y="3815860"/>
            <a:ext cx="307984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lvl="0" defTabSz="979488">
              <a:defRPr/>
            </a:pPr>
            <a:r>
              <a:rPr lang="en-US" altLang="zh-CN" dirty="0">
                <a:solidFill>
                  <a:srgbClr val="1A7449"/>
                </a:solidFill>
              </a:rPr>
              <a:t>{number_2_bullet}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04AF1528-722F-CCC3-A7A7-8216740AAAB6}"/>
              </a:ext>
            </a:extLst>
          </p:cNvPr>
          <p:cNvSpPr>
            <a:spLocks/>
          </p:cNvSpPr>
          <p:nvPr/>
        </p:nvSpPr>
        <p:spPr bwMode="gray">
          <a:xfrm>
            <a:off x="4390364" y="2731285"/>
            <a:ext cx="3079850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7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2}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D6A26A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6A15B2-0574-B3FF-BA8D-821584075F5A}"/>
              </a:ext>
            </a:extLst>
          </p:cNvPr>
          <p:cNvSpPr>
            <a:spLocks/>
          </p:cNvSpPr>
          <p:nvPr/>
        </p:nvSpPr>
        <p:spPr bwMode="gray">
          <a:xfrm>
            <a:off x="7796884" y="3815860"/>
            <a:ext cx="307984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lvl="0" defTabSz="979488">
              <a:defRPr/>
            </a:pPr>
            <a:r>
              <a:rPr lang="en-US" altLang="zh-CN" dirty="0">
                <a:solidFill>
                  <a:srgbClr val="1A7449"/>
                </a:solidFill>
              </a:rPr>
              <a:t>{number_3_bullet}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12EAFE85-0ABE-428C-26DE-C5F83BF7C9B0}"/>
              </a:ext>
            </a:extLst>
          </p:cNvPr>
          <p:cNvSpPr>
            <a:spLocks/>
          </p:cNvSpPr>
          <p:nvPr/>
        </p:nvSpPr>
        <p:spPr bwMode="gray">
          <a:xfrm>
            <a:off x="7796883" y="2731285"/>
            <a:ext cx="3405956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7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3}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F19CA479-4588-8702-9A48-5A6C68CB6C8C}"/>
              </a:ext>
            </a:extLst>
          </p:cNvPr>
          <p:cNvSpPr>
            <a:spLocks/>
          </p:cNvSpPr>
          <p:nvPr/>
        </p:nvSpPr>
        <p:spPr bwMode="gray">
          <a:xfrm>
            <a:off x="983853" y="2731285"/>
            <a:ext cx="3117371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7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}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D6A26A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F7E46D14-1376-0F52-1748-81AAC89A3BFC}"/>
              </a:ext>
            </a:extLst>
          </p:cNvPr>
          <p:cNvSpPr>
            <a:spLocks/>
          </p:cNvSpPr>
          <p:nvPr/>
        </p:nvSpPr>
        <p:spPr bwMode="gray">
          <a:xfrm>
            <a:off x="983853" y="3815860"/>
            <a:ext cx="307984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0" marR="0" lvl="0" indent="0" algn="l" defTabSz="97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_bullet}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6E4BF63-3177-C940-CE6A-1337287A4B21}"/>
              </a:ext>
            </a:extLst>
          </p:cNvPr>
          <p:cNvSpPr txBox="1">
            <a:spLocks/>
          </p:cNvSpPr>
          <p:nvPr/>
        </p:nvSpPr>
        <p:spPr>
          <a:xfrm>
            <a:off x="7796884" y="4198858"/>
            <a:ext cx="307984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number_1_bullet_content}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D1E2667E-E076-0601-88A9-BDB4B3C830E8}"/>
              </a:ext>
            </a:extLst>
          </p:cNvPr>
          <p:cNvSpPr txBox="1">
            <a:spLocks/>
          </p:cNvSpPr>
          <p:nvPr/>
        </p:nvSpPr>
        <p:spPr>
          <a:xfrm>
            <a:off x="4393023" y="4198858"/>
            <a:ext cx="307984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number_1_bullet_content}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BD83B25-00E1-857C-2E7D-9A65EB963C2A}"/>
              </a:ext>
            </a:extLst>
          </p:cNvPr>
          <p:cNvSpPr txBox="1">
            <a:spLocks/>
          </p:cNvSpPr>
          <p:nvPr/>
        </p:nvSpPr>
        <p:spPr>
          <a:xfrm>
            <a:off x="989162" y="4198858"/>
            <a:ext cx="307984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</a:t>
            </a:r>
            <a:r>
              <a:rPr lang="en-US" sz="1400" dirty="0">
                <a:solidFill>
                  <a:srgbClr val="575757"/>
                </a:solidFill>
                <a:latin typeface="理想品牌字体 2022"/>
                <a:ea typeface="理想品牌字体 2022"/>
              </a:rPr>
              <a:t>_1_bullet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graphicFrame>
        <p:nvGraphicFramePr>
          <p:cNvPr id="19" name="Chart 3">
            <a:extLst>
              <a:ext uri="{FF2B5EF4-FFF2-40B4-BE49-F238E27FC236}">
                <a16:creationId xmlns:a16="http://schemas.microsoft.com/office/drawing/2014/main" id="{1A45103E-E8EC-4F6B-8339-2EB00F0B2FCC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911225" y="2203450"/>
          <a:ext cx="3240088" cy="35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Chart 3">
            <a:extLst>
              <a:ext uri="{FF2B5EF4-FFF2-40B4-BE49-F238E27FC236}">
                <a16:creationId xmlns:a16="http://schemas.microsoft.com/office/drawing/2014/main" id="{B595AB55-CEA4-4332-99F4-F6F61FB70032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4314825" y="2203450"/>
          <a:ext cx="3240088" cy="35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11F8BDAD-7BBC-4406-B20C-53B656C12BB2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7713663" y="2203450"/>
          <a:ext cx="3240087" cy="35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11E52C2-7780-086B-D05B-381EFA47F3F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23994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mparisons, percent, percentage, progress bar, bars, think-cell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EFD2C069-2DC6-E311-AF8B-9A1C660723EF}"/>
              </a:ext>
            </a:extLst>
          </p:cNvPr>
          <p:cNvSpPr>
            <a:spLocks/>
          </p:cNvSpPr>
          <p:nvPr/>
        </p:nvSpPr>
        <p:spPr>
          <a:xfrm>
            <a:off x="8811108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e progress bars are created using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bar charts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hange the percentage valu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Double-click a bar to open the chart's datashee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datasheet, enter a percentage valu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he percentage values on the slide are linked to the think-cell bar chart and will update accordingly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4483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4ivITOhWaPomnYu_X9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0.OO6s4_0VpqhlZ5Um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KGoQcpnNeafvpHgCHaJ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36</Words>
  <Application>Microsoft Office PowerPoint</Application>
  <PresentationFormat>宽屏</PresentationFormat>
  <Paragraphs>1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Arial,Sans-Serif</vt:lpstr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41:43Z</dcterms:created>
  <dcterms:modified xsi:type="dcterms:W3CDTF">2025-09-04T05:42:46Z</dcterms:modified>
</cp:coreProperties>
</file>